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8"/>
  </p:notesMasterIdLst>
  <p:handoutMasterIdLst>
    <p:handoutMasterId r:id="rId9"/>
  </p:handoutMasterIdLst>
  <p:sldIdLst>
    <p:sldId id="406" r:id="rId6"/>
    <p:sldId id="415" r:id="rId7"/>
  </p:sldIdLst>
  <p:sldSz cx="12198350" cy="6858000"/>
  <p:notesSz cx="7315200" cy="9601200"/>
  <p:custDataLst>
    <p:tags r:id="rId10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rcedes-Benz Mastervorlage" id="{DC7E59F3-1751-4F5A-94D2-FE5E27FE97B1}">
          <p14:sldIdLst/>
        </p14:section>
        <p14:section name="Bibliotheken" id="{2A5F3592-C811-4774-843D-2E0D4612952B}">
          <p14:sldIdLst>
            <p14:sldId id="406"/>
            <p14:sldId id="4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88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4071">
          <p15:clr>
            <a:srgbClr val="A4A3A4"/>
          </p15:clr>
        </p15:guide>
        <p15:guide id="4" orient="horz" pos="468">
          <p15:clr>
            <a:srgbClr val="A4A3A4"/>
          </p15:clr>
        </p15:guide>
        <p15:guide id="5" orient="horz" pos="705">
          <p15:clr>
            <a:srgbClr val="A4A3A4"/>
          </p15:clr>
        </p15:guide>
        <p15:guide id="6" pos="7434">
          <p15:clr>
            <a:srgbClr val="A4A3A4"/>
          </p15:clr>
        </p15:guide>
        <p15:guide id="7" pos="36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45" userDrawn="1">
          <p15:clr>
            <a:srgbClr val="A4A3A4"/>
          </p15:clr>
        </p15:guide>
        <p15:guide id="2" orient="horz" pos="5303" userDrawn="1">
          <p15:clr>
            <a:srgbClr val="A4A3A4"/>
          </p15:clr>
        </p15:guide>
        <p15:guide id="3" pos="4288" userDrawn="1">
          <p15:clr>
            <a:srgbClr val="A4A3A4"/>
          </p15:clr>
        </p15:guide>
        <p15:guide id="4" pos="32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B6BBC1"/>
    <a:srgbClr val="9F0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03" autoAdjust="0"/>
    <p:restoredTop sz="95053" autoAdjust="0"/>
  </p:normalViewPr>
  <p:slideViewPr>
    <p:cSldViewPr snapToGrid="0" showGuides="1">
      <p:cViewPr varScale="1">
        <p:scale>
          <a:sx n="111" d="100"/>
          <a:sy n="111" d="100"/>
        </p:scale>
        <p:origin x="972" y="108"/>
      </p:cViewPr>
      <p:guideLst>
        <p:guide orient="horz" pos="588"/>
        <p:guide orient="horz" pos="210"/>
        <p:guide orient="horz" pos="4071"/>
        <p:guide orient="horz" pos="468"/>
        <p:guide orient="horz" pos="705"/>
        <p:guide pos="7434"/>
        <p:guide pos="3678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276"/>
    </p:cViewPr>
  </p:sorterViewPr>
  <p:notesViewPr>
    <p:cSldViewPr snapToGrid="0" showGuides="1">
      <p:cViewPr>
        <p:scale>
          <a:sx n="80" d="100"/>
          <a:sy n="80" d="100"/>
        </p:scale>
        <p:origin x="-4026" y="-720"/>
      </p:cViewPr>
      <p:guideLst>
        <p:guide orient="horz" pos="745"/>
        <p:guide orient="horz" pos="5303"/>
        <p:guide pos="4288"/>
        <p:guide pos="3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969600" y="9279901"/>
            <a:ext cx="345600" cy="3213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pic>
        <p:nvPicPr>
          <p:cNvPr id="10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01" y="9347484"/>
            <a:ext cx="1267200" cy="14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5613" y="720725"/>
            <a:ext cx="640397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6969600" y="9279901"/>
            <a:ext cx="345600" cy="3213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US" sz="900" smtClean="0"/>
              <a:pPr lvl="0" algn="l"/>
              <a:t>‹Nr.›</a:t>
            </a:fld>
            <a:endParaRPr lang="en-US" sz="900" dirty="0"/>
          </a:p>
        </p:txBody>
      </p:sp>
      <p:sp>
        <p:nvSpPr>
          <p:cNvPr id="2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404708" y="4560571"/>
            <a:ext cx="6505787" cy="43205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 in </a:t>
            </a:r>
            <a:r>
              <a:rPr lang="de-DE" noProof="0" dirty="0" err="1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pic>
        <p:nvPicPr>
          <p:cNvPr id="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401" y="9347484"/>
            <a:ext cx="1267200" cy="14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809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30 pt über eine Zeile.</a:t>
            </a:r>
            <a:br>
              <a:rPr lang="de-DE" dirty="0" smtClean="0"/>
            </a:br>
            <a:r>
              <a:rPr lang="de-DE" dirty="0" smtClean="0"/>
              <a:t>Zweite Zeile möglich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 smtClean="0"/>
              <a:t>Zusatztext zur Präsentation 15 pt </a:t>
            </a:r>
            <a:br>
              <a:rPr lang="de-DE" dirty="0" smtClean="0"/>
            </a:br>
            <a:r>
              <a:rPr lang="de-DE" dirty="0" smtClean="0"/>
              <a:t>Referent, Abteilung, Ort, Datum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835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22622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004275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287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4613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4950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9004275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287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4613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4950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9004275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288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4950" y="1512000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marL="0" marR="0" lvl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4612" y="1512000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marL="0" marR="0" lvl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Überschrift </a:t>
            </a:r>
            <a:r>
              <a:rPr lang="en-US" dirty="0" smtClean="0"/>
              <a:t>CorpoS 20 pt. </a:t>
            </a:r>
            <a:endParaRPr lang="de-DE" dirty="0" smtClean="0"/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004275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288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4950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4612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6626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9175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7176" y="52526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tx2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13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5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4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4000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4000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4000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>
          <a:xfrm>
            <a:off x="3996005" y="20981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>
          <a:xfrm>
            <a:off x="3996005" y="33452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>
          <a:xfrm>
            <a:off x="7719176" y="5839401"/>
            <a:ext cx="47949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>
          <a:xfrm>
            <a:off x="3996005" y="4592301"/>
            <a:ext cx="483170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2800" y="1836000"/>
            <a:ext cx="3754800" cy="1080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2800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2800" y="5346001"/>
            <a:ext cx="3754800" cy="10802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2800" y="502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0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6000" y="4320000"/>
            <a:ext cx="3754800" cy="21062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6000" y="3996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2988100"/>
            <a:ext cx="3754800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6676" y="4950100"/>
            <a:ext cx="3754800" cy="14761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6676" y="46261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6676" y="1512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6676" y="3384001"/>
            <a:ext cx="3754800" cy="1170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6676" y="3060000"/>
            <a:ext cx="3754800" cy="324000"/>
          </a:xfrm>
          <a:solidFill>
            <a:schemeClr val="tx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836001"/>
            <a:ext cx="3754800" cy="20880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6676" y="1836000"/>
            <a:ext cx="3754800" cy="11521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/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4pPr>
            <a:lvl5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17573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79418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</a:t>
            </a:r>
            <a:endParaRPr lang="de-DE" dirty="0" smtClean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4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8466" y="3495677"/>
            <a:ext cx="1840379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884" y="4486748"/>
            <a:ext cx="2796863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5118" y="4486747"/>
            <a:ext cx="8857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884" y="3495677"/>
            <a:ext cx="88417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3059" y="3495677"/>
            <a:ext cx="882628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3495678"/>
            <a:ext cx="183960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8436" y="1511768"/>
            <a:ext cx="279672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4151" y="2503829"/>
            <a:ext cx="1841010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4150" y="3495678"/>
            <a:ext cx="184101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91125" y="4486747"/>
            <a:ext cx="88403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8436" y="4486747"/>
            <a:ext cx="1840689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2403" y="4486747"/>
            <a:ext cx="88403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2403" y="1511767"/>
            <a:ext cx="88403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8436" y="2503829"/>
            <a:ext cx="88356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1768"/>
            <a:ext cx="279782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6502" y="1511768"/>
            <a:ext cx="8849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1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2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3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85432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dirty="0" smtClean="0"/>
              <a:t>Agenda Punk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2796723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91126" y="2503829"/>
            <a:ext cx="884036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91124" y="3495678"/>
            <a:ext cx="88403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4137514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801345" y="4585641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9732274">
            <a:off x="7736400" y="222908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290280" y="10235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33553" y="2044006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985266" y="5929818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021227" y="1163906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1425296">
            <a:off x="3307430" y="344799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7733" y="55116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75274" y="4464855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7813592" y="3424709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569910" y="4964630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20824625">
            <a:off x="8647912" y="765256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bg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893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6001" y="1786681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6001" y="462604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6001" y="3206363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893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6001" y="6045725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661861" y="178616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661861" y="4624494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661861" y="320532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661861" y="366999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661861" y="6043658"/>
            <a:ext cx="313958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9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70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15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111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112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4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4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5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79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0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2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3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8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290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Headline zweizeilig in CorpoA (Überschriften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289" y="1512000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5"/>
            <a:r>
              <a:rPr lang="de-DE" dirty="0" smtClean="0"/>
              <a:t>Fünfte Ebene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7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8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4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62918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5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6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3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9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0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6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2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3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4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5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7352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5176" y="0"/>
            <a:ext cx="6063175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5952" y="461970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5458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7717" y="0"/>
            <a:ext cx="29954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7458" y="1155601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7458" y="4619700"/>
            <a:ext cx="2994942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008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3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5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9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2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108" name="Gruppieren 10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dirty="0" smtClean="0"/>
              <a:t>Optionale Headline einzeilig in CorpoA (Überschriften) 30 pt. 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3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32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77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73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74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70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3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3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4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6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7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68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69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2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43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>
                <a:solidFill>
                  <a:schemeClr val="accent1"/>
                </a:solidFill>
              </a:defRPr>
            </a:lvl1pPr>
            <a:lvl2pPr marL="863878" indent="-431939">
              <a:buFont typeface="+mj-lt"/>
              <a:buAutoNum type="alphaLcPeriod"/>
              <a:defRPr>
                <a:solidFill>
                  <a:schemeClr val="accent1"/>
                </a:solidFill>
              </a:defRPr>
            </a:lvl2pPr>
            <a:lvl3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3pPr>
            <a:lvl4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4pPr>
            <a:lvl5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5pPr>
            <a:lvl6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6pPr>
            <a:lvl7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7pPr>
            <a:lvl8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8pPr>
            <a:lvl9pPr marL="863878" indent="-431939">
              <a:buFont typeface="+mj-lt"/>
              <a:buAutoNum type="alphaLcPeriod"/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 smtClean="0"/>
              <a:t>Agenda Punk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 (Highlight in „Pure blue“ (Akzent 2)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53187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68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bg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809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7" y="3848402"/>
            <a:ext cx="8928000" cy="1044000"/>
          </a:xfrm>
        </p:spPr>
        <p:txBody>
          <a:bodyPr/>
          <a:lstStyle>
            <a:lvl1pPr>
              <a:lnSpc>
                <a:spcPts val="3999"/>
              </a:lnSpc>
              <a:defRPr sz="3000"/>
            </a:lvl1pPr>
          </a:lstStyle>
          <a:p>
            <a:r>
              <a:rPr lang="de-DE" dirty="0" smtClean="0"/>
              <a:t>Präsentationstitel 30 pt über eine Zeile.</a:t>
            </a:r>
            <a:br>
              <a:rPr lang="de-DE" dirty="0" smtClean="0"/>
            </a:br>
            <a:r>
              <a:rPr lang="de-DE" dirty="0" smtClean="0"/>
              <a:t>Zweite Zeile möglich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smtClean="0"/>
              <a:t>Zusatztext zur Präsentation 15 pt </a:t>
            </a:r>
            <a:br>
              <a:rPr lang="de-DE" dirty="0" smtClean="0"/>
            </a:br>
            <a:r>
              <a:rPr lang="de-DE" dirty="0" smtClean="0"/>
              <a:t>Referent, Abteilung, Ort, Datum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835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/>
            </a:lvl1pPr>
            <a:lvl2pPr marL="863878" indent="-431939">
              <a:buFont typeface="+mj-lt"/>
              <a:buAutoNum type="alphaLcPeriod"/>
              <a:defRPr/>
            </a:lvl2pPr>
            <a:lvl3pPr marL="863878" indent="-431939">
              <a:buFont typeface="+mj-lt"/>
              <a:buAutoNum type="alphaLcPeriod"/>
              <a:defRPr sz="2000"/>
            </a:lvl3pPr>
            <a:lvl4pPr marL="863878" indent="-431939">
              <a:buFont typeface="+mj-lt"/>
              <a:buAutoNum type="alphaLcPeriod"/>
              <a:defRPr sz="2000"/>
            </a:lvl4pPr>
            <a:lvl5pPr marL="863878" indent="-431939">
              <a:buFont typeface="+mj-lt"/>
              <a:buAutoNum type="alphaLcPeriod"/>
              <a:defRPr sz="2000"/>
            </a:lvl5pPr>
            <a:lvl6pPr marL="863878" indent="-431939">
              <a:buFont typeface="+mj-lt"/>
              <a:buAutoNum type="alphaLcPeriod"/>
              <a:defRPr sz="2000"/>
            </a:lvl6pPr>
            <a:lvl7pPr marL="863878" indent="-431939">
              <a:buFont typeface="+mj-lt"/>
              <a:buAutoNum type="alphaLcPeriod"/>
              <a:defRPr sz="2000"/>
            </a:lvl7pPr>
            <a:lvl8pPr marL="863878" indent="-431939">
              <a:buFont typeface="+mj-lt"/>
              <a:buAutoNum type="alphaLcPeriod"/>
              <a:defRPr sz="2000"/>
            </a:lvl8pPr>
            <a:lvl9pPr marL="863878" indent="-431939">
              <a:buFont typeface="+mj-lt"/>
              <a:buAutoNum type="alphaLcPeriod"/>
              <a:defRPr sz="2000"/>
            </a:lvl9pPr>
          </a:lstStyle>
          <a:p>
            <a:pPr lvl="0"/>
            <a:r>
              <a:rPr lang="de-DE" dirty="0" smtClean="0"/>
              <a:t>Agenda Punk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s Trenn- folie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</p:spPr>
        <p:txBody>
          <a:bodyPr numCol="2" spcCol="244765"/>
          <a:lstStyle>
            <a:lvl1pPr marL="431939" indent="-431939">
              <a:buFont typeface="+mj-lt"/>
              <a:buAutoNum type="arabicPeriod"/>
              <a:defRPr baseline="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  <a:lvl2pPr marL="863878" indent="-431939">
              <a:buFont typeface="+mj-lt"/>
              <a:buAutoNum type="alphaLcPeriod"/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2pPr>
            <a:lvl3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  <a:lvl6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6pPr>
            <a:lvl7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7pPr>
            <a:lvl8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8pPr>
            <a:lvl9pPr marL="863878" indent="-431939">
              <a:buFont typeface="+mj-lt"/>
              <a:buAutoNum type="alphaLcPeriod"/>
              <a:defRPr sz="2000">
                <a:solidFill>
                  <a:schemeClr val="bg1">
                    <a:lumMod val="65000"/>
                    <a:lumOff val="3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Agenda Punk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Unterpunkt: Start // Absatz // Listenebene erhöhen (Highlight in „Pure blue“ (Akzent 2))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64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6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7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5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7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004275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9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395287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6134613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4950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9004275" y="4208401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95287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6134613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3264950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9004275" y="1906475"/>
            <a:ext cx="2797200" cy="1692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95288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6" name="Textplatzhalter 3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3264950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7" name="Textplatzhalter 3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6134612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41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004275" y="151200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4" name="Textplatzhalter 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395288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8" name="Textplatzhalter 3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264950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19" name="Textplatzhalter 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6134612" y="3810874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9pPr>
          </a:lstStyle>
          <a:p>
            <a:pPr lvl="0"/>
            <a:r>
              <a:rPr lang="de-DE" dirty="0" smtClean="0"/>
              <a:t>Überschrift </a:t>
            </a:r>
            <a:r>
              <a:rPr lang="en-US" dirty="0" smtClean="0"/>
              <a:t>CorpoS 20 pt.</a:t>
            </a:r>
            <a:endParaRPr lang="de-DE" dirty="0" smtClean="0"/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9796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607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7176" y="27584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7176" y="15113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7176" y="40055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9175" y="1512000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9175" y="2758867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9175" y="4005734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9175" y="5252601"/>
            <a:ext cx="1512000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</a:t>
            </a:r>
            <a:br>
              <a:rPr lang="en-US" dirty="0" smtClean="0"/>
            </a:br>
            <a:r>
              <a:rPr lang="en-US" dirty="0" smtClean="0"/>
              <a:t>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6000" y="1512000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6000" y="5252601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6000" y="4005734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6000" y="2758867"/>
            <a:ext cx="1800000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10001474" y="15113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01474" y="52526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001474" y="40055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10001474" y="2758401"/>
            <a:ext cx="1800000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000"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8671" y="15113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8671" y="40055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8671" y="27584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8671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4000" y="1512000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4000" y="4005734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4000" y="2758867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4000" y="5252601"/>
            <a:ext cx="1692005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5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6005" y="2098800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6005" y="3345667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9176" y="20981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9176" y="33452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9176" y="4592301"/>
            <a:ext cx="47949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5607" y="5839401"/>
            <a:ext cx="483064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6005" y="5839401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6005" y="4592534"/>
            <a:ext cx="483170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48" name="Gruppieren 4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4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5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5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4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5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4337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5691" y="5284427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4704" y="280890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90519" y="2581063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3054" y="3144224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8500" y="4603312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61589" y="4897309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1247" y="2579449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8703" y="252068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38222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7331" y="45806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10544" y="3345727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8739" y="4854467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2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6000" y="5252601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3026" y="5252601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4851" y="5252601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512000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6000" y="2758867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6000" y="4005735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6674" y="1512000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5474" y="2758867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5474" y="4005735"/>
            <a:ext cx="25560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4851" y="1512000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6674" y="5252601"/>
            <a:ext cx="37548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 // für kleineren Text: Start // Absatz // Listenebene erhöhen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3026" y="1512000"/>
            <a:ext cx="1839600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</a:t>
            </a:r>
            <a:r>
              <a:rPr lang="de-DE" noProof="0" dirty="0" smtClean="0"/>
              <a:t>CorpoS</a:t>
            </a:r>
            <a:r>
              <a:rPr lang="en-US" dirty="0" smtClean="0"/>
              <a:t> 15 pt. </a:t>
            </a:r>
            <a:r>
              <a:rPr lang="de-DE" dirty="0" smtClean="0"/>
              <a:t>// kleineren Text: Listenebene erhöh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41" name="Gruppieren 4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4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4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4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 Highlights //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4222800" y="1836000"/>
            <a:ext cx="3754800" cy="108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4222800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4222800" y="5346001"/>
            <a:ext cx="3754800" cy="1080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4222800" y="502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6000" y="1836001"/>
            <a:ext cx="3754800" cy="2088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0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396000" y="4320000"/>
            <a:ext cx="3754800" cy="21062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45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396000" y="3996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4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2988100"/>
            <a:ext cx="3754800" cy="19620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4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8046676" y="4950100"/>
            <a:ext cx="3754800" cy="1476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046676" y="46261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8046676" y="1836000"/>
            <a:ext cx="3754800" cy="11521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8046676" y="1512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9" hasCustomPrompt="1"/>
          </p:nvPr>
        </p:nvSpPr>
        <p:spPr bwMode="gray">
          <a:xfrm>
            <a:off x="8046676" y="3384001"/>
            <a:ext cx="3754800" cy="11700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2pPr>
            <a:lvl3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5pPr>
            <a:lvl6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6pPr>
            <a:lvl7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7pPr>
            <a:lvl8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8pPr>
            <a:lvl9pPr marL="107985" indent="-107985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80" hasCustomPrompt="1"/>
          </p:nvPr>
        </p:nvSpPr>
        <p:spPr bwMode="gray">
          <a:xfrm>
            <a:off x="8046676" y="3060000"/>
            <a:ext cx="3754800" cy="324000"/>
          </a:xfrm>
          <a:solidFill>
            <a:schemeClr val="bg2">
              <a:lumMod val="50000"/>
            </a:schemeClr>
          </a:solidFill>
        </p:spPr>
        <p:txBody>
          <a:bodyPr lIns="71990" tIns="0" rIns="7199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Headline in </a:t>
            </a:r>
            <a:r>
              <a:rPr lang="de-DE" noProof="0" dirty="0" smtClean="0"/>
              <a:t>CorpoS</a:t>
            </a:r>
            <a:r>
              <a:rPr lang="en-US" dirty="0" smtClean="0"/>
              <a:t> in 15 pt. </a:t>
            </a:r>
            <a:r>
              <a:rPr lang="de-DE" dirty="0" smtClean="0"/>
              <a:t>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81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261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6000" y="3851886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6000" y="3383769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6000" y="15113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6000" y="198000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6000" y="2915651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6000" y="4320000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6000" y="2447534"/>
            <a:ext cx="3754800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de-DE" noProof="0" dirty="0" smtClean="0"/>
              <a:t>CorpoS</a:t>
            </a:r>
            <a:r>
              <a:rPr lang="en-US" dirty="0" smtClean="0"/>
              <a:t> in 20 pt. </a:t>
            </a:r>
            <a:endParaRPr lang="de-DE" dirty="0" smtClean="0"/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2800" y="1511300"/>
            <a:ext cx="7578675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7" name="Gruppieren 1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2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2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6676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21337" y="4044227"/>
            <a:ext cx="37548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3501248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3501248"/>
            <a:ext cx="37548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21338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6676" y="603098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in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8" name="Gruppieren 2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2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0" name="Gruppieren 29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1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3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4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2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1" y="40442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1" y="35012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2" y="60309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6" y="1511300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6" y="4043527"/>
            <a:ext cx="56663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6" y="3500548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6" y="6030280"/>
            <a:ext cx="56663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9" name="Gruppieren 28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0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32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33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0" y="40442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35012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60309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4849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4849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4849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4851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542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542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5425" y="3500548"/>
            <a:ext cx="2797200" cy="324000"/>
          </a:xfrm>
        </p:spPr>
        <p:txBody>
          <a:bodyPr/>
          <a:lstStyle>
            <a:lvl1pPr marL="0" marR="0" indent="0" algn="l" defTabSz="914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5426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004275" y="1511300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9004275" y="4043527"/>
            <a:ext cx="27972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9004275" y="3500548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004275" y="6030280"/>
            <a:ext cx="27972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7" name="Gruppieren 3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3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40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41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4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2308466" y="3495677"/>
            <a:ext cx="1840379" cy="91906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9" name="Bildplatzhalter 8"/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396884" y="4486748"/>
            <a:ext cx="2796863" cy="920062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0" name="Bildplatzhalter 8"/>
          <p:cNvSpPr>
            <a:spLocks noGrp="1"/>
          </p:cNvSpPr>
          <p:nvPr userDrawn="1">
            <p:ph type="pic" sz="quarter" idx="18" hasCustomPrompt="1"/>
          </p:nvPr>
        </p:nvSpPr>
        <p:spPr bwMode="gray">
          <a:xfrm>
            <a:off x="3265118" y="4486747"/>
            <a:ext cx="885768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1" name="Bildplatzhalter 8"/>
          <p:cNvSpPr>
            <a:spLocks noGrp="1"/>
          </p:cNvSpPr>
          <p:nvPr userDrawn="1">
            <p:ph type="pic" sz="quarter" idx="19" hasCustomPrompt="1"/>
          </p:nvPr>
        </p:nvSpPr>
        <p:spPr bwMode="gray">
          <a:xfrm>
            <a:off x="396884" y="3495677"/>
            <a:ext cx="884175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2" name="Bildplatzhalter 8"/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1353059" y="3495677"/>
            <a:ext cx="882628" cy="91906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3495678"/>
            <a:ext cx="183960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6" name="Bildplatzhalter 8"/>
          <p:cNvSpPr>
            <a:spLocks noGrp="1"/>
          </p:cNvSpPr>
          <p:nvPr userDrawn="1">
            <p:ph type="pic" sz="quarter" idx="24" hasCustomPrompt="1"/>
          </p:nvPr>
        </p:nvSpPr>
        <p:spPr bwMode="gray">
          <a:xfrm>
            <a:off x="5178436" y="1511768"/>
            <a:ext cx="279672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6134151" y="2503829"/>
            <a:ext cx="1841010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6134150" y="3495678"/>
            <a:ext cx="1841010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7091125" y="4486747"/>
            <a:ext cx="884035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0" name="Bildplatzhalter 8"/>
          <p:cNvSpPr>
            <a:spLocks noGrp="1"/>
          </p:cNvSpPr>
          <p:nvPr userDrawn="1">
            <p:ph type="pic" sz="quarter" idx="28" hasCustomPrompt="1"/>
          </p:nvPr>
        </p:nvSpPr>
        <p:spPr bwMode="gray">
          <a:xfrm>
            <a:off x="5178436" y="4486747"/>
            <a:ext cx="1840689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 userDrawn="1">
            <p:ph type="pic" sz="quarter" idx="29" hasCustomPrompt="1"/>
          </p:nvPr>
        </p:nvSpPr>
        <p:spPr bwMode="gray">
          <a:xfrm>
            <a:off x="4222403" y="4486747"/>
            <a:ext cx="884034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2" name="Bildplatzhalter 8"/>
          <p:cNvSpPr>
            <a:spLocks noGrp="1"/>
          </p:cNvSpPr>
          <p:nvPr userDrawn="1">
            <p:ph type="pic" sz="quarter" idx="30" hasCustomPrompt="1"/>
          </p:nvPr>
        </p:nvSpPr>
        <p:spPr bwMode="gray">
          <a:xfrm>
            <a:off x="4222403" y="1511767"/>
            <a:ext cx="88403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4" name="Bildplatzhalter 8"/>
          <p:cNvSpPr>
            <a:spLocks noGrp="1"/>
          </p:cNvSpPr>
          <p:nvPr userDrawn="1">
            <p:ph type="pic" sz="quarter" idx="32" hasCustomPrompt="1"/>
          </p:nvPr>
        </p:nvSpPr>
        <p:spPr bwMode="gray">
          <a:xfrm>
            <a:off x="5178436" y="2503829"/>
            <a:ext cx="883566" cy="920528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6" y="1511768"/>
            <a:ext cx="2797825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10916502" y="1511768"/>
            <a:ext cx="884974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4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97" name="Gruppieren 96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00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02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3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5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01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5729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7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2308466" y="2502758"/>
            <a:ext cx="1842421" cy="921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2796723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7" name="Bildplatzhalter 8"/>
          <p:cNvSpPr>
            <a:spLocks noGrp="1"/>
          </p:cNvSpPr>
          <p:nvPr userDrawn="1">
            <p:ph type="pic" sz="quarter" idx="25" hasCustomPrompt="1"/>
          </p:nvPr>
        </p:nvSpPr>
        <p:spPr bwMode="gray">
          <a:xfrm>
            <a:off x="7091126" y="2503829"/>
            <a:ext cx="884036" cy="920529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8" name="Bildplatzhalter 8"/>
          <p:cNvSpPr>
            <a:spLocks noGrp="1"/>
          </p:cNvSpPr>
          <p:nvPr userDrawn="1">
            <p:ph type="pic" sz="quarter" idx="26" hasCustomPrompt="1"/>
          </p:nvPr>
        </p:nvSpPr>
        <p:spPr bwMode="gray">
          <a:xfrm>
            <a:off x="7091124" y="3495678"/>
            <a:ext cx="884036" cy="91906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1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3" name="Gruppieren 72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9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81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82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4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6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0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30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Zwei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2147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Inhalt oder Text in </a:t>
            </a:r>
            <a:r>
              <a:rPr lang="en-US" dirty="0" smtClean="0"/>
              <a:t>CorpoS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2402" y="2503829"/>
            <a:ext cx="3752492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4486747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4486747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3884" y="1511768"/>
            <a:ext cx="184101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2" y="1511768"/>
            <a:ext cx="18396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2" name="Gruppieren 7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7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8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7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s mit Textanmerku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6086" y="1511767"/>
            <a:ext cx="11405389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8"/>
              </a:spcAft>
            </a:pPr>
            <a:endParaRPr lang="de-DE" sz="2000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6086" y="1511767"/>
            <a:ext cx="11405389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1059" y="1511767"/>
            <a:ext cx="9635443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6086" y="1511300"/>
            <a:ext cx="11405389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6465" y="1511300"/>
            <a:ext cx="7724631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288" y="1511299"/>
            <a:ext cx="11406188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6086" y="2431828"/>
            <a:ext cx="11405389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288" y="5436002"/>
            <a:ext cx="11406187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885" y="1511768"/>
            <a:ext cx="183880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8466" y="1511768"/>
            <a:ext cx="1842252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288" y="3495677"/>
            <a:ext cx="3753557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4151" y="3495677"/>
            <a:ext cx="184101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2402" y="3495677"/>
            <a:ext cx="18396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6676" y="3495677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6677" y="1511768"/>
            <a:ext cx="184242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61876" y="1511768"/>
            <a:ext cx="18396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2501" y="1511768"/>
            <a:ext cx="3752659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grpSp>
        <p:nvGrpSpPr>
          <p:cNvPr id="72" name="Gruppieren 7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7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77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79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0" name="Zuschneiden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" name="Einpassen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mi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4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801345" y="4585641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4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9732274">
            <a:off x="7736400" y="222908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5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290280" y="1023594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6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33553" y="2044006"/>
            <a:ext cx="2204126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7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985266" y="5929818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9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021227" y="1163906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0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1425296">
            <a:off x="3307430" y="3447990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1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7733" y="5510568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2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75274" y="4464855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3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7813592" y="3424709"/>
            <a:ext cx="1284521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54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569910" y="4964630"/>
            <a:ext cx="3267222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48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20824625">
            <a:off x="8647912" y="765256"/>
            <a:ext cx="1909937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tx1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893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6001" y="1786681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6001" y="462604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6001" y="3206363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600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893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6001" y="6045725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661861" y="178616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661861" y="4624494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661861" y="320532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661861" y="366999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661861" y="6043658"/>
            <a:ext cx="313958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Highlight in </a:t>
            </a:r>
            <a:r>
              <a:rPr lang="en-US" dirty="0" smtClean="0"/>
              <a:t>CorpoS in 20 pt.</a:t>
            </a:r>
            <a:endParaRPr lang="de-DE" dirty="0" smtClean="0"/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9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70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15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111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112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4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4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5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79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0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1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2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3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8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8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Text/Multi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290" y="368300"/>
            <a:ext cx="5508000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289" y="1512000"/>
            <a:ext cx="5508000" cy="29493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 (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7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8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4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3" name="Gruppieren 92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98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00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1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4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9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0"/>
            <a:ext cx="6062918" cy="4548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4619700"/>
            <a:ext cx="6062917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-824"/>
            <a:ext cx="2995201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5175" y="1155600"/>
            <a:ext cx="2995717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5175" y="4619700"/>
            <a:ext cx="299545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5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6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93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9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0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6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2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3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4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5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95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96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2" name="Gruppieren 91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97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99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00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8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4427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6135176" y="0"/>
            <a:ext cx="6063175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6135952" y="461970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0" y="-1"/>
            <a:ext cx="2995458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067717" y="0"/>
            <a:ext cx="29954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067458" y="1155601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067458" y="4619700"/>
            <a:ext cx="2994942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426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175" y="5774400"/>
            <a:ext cx="2995717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175" y="2309400"/>
            <a:ext cx="2995717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175" y="0"/>
            <a:ext cx="2995717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3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8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88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89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5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5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6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9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0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1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3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4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0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91" name="Gruppieren 90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2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4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5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3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s //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4" y="1"/>
            <a:ext cx="1219920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8"/>
                </a:spcAft>
              </a:pPr>
              <a:endParaRPr lang="de-DE" sz="2000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8"/>
                  </a:spcAft>
                </a:pPr>
                <a:endParaRPr lang="de-DE" sz="2000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203151" y="0"/>
            <a:ext cx="2995201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5951" y="5774400"/>
            <a:ext cx="29949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5951" y="2309400"/>
            <a:ext cx="2994942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5951" y="0"/>
            <a:ext cx="2994684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203151" y="1155600"/>
            <a:ext cx="2995199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203151" y="4619700"/>
            <a:ext cx="2995199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63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65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109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90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91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87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77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78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1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82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83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4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85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86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11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112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  <p:grpSp>
        <p:nvGrpSpPr>
          <p:cNvPr id="108" name="Gruppieren 107"/>
          <p:cNvGrpSpPr/>
          <p:nvPr userDrawn="1"/>
        </p:nvGrpSpPr>
        <p:grpSpPr>
          <a:xfrm>
            <a:off x="12304800" y="403200"/>
            <a:ext cx="1800000" cy="6454800"/>
            <a:chOff x="12304800" y="403200"/>
            <a:chExt cx="1800000" cy="6454800"/>
          </a:xfrm>
        </p:grpSpPr>
        <p:grpSp>
          <p:nvGrpSpPr>
            <p:cNvPr id="113" name="Bildhandling"/>
            <p:cNvGrpSpPr/>
            <p:nvPr userDrawn="1"/>
          </p:nvGrpSpPr>
          <p:grpSpPr>
            <a:xfrm>
              <a:off x="12304800" y="403200"/>
              <a:ext cx="1800000" cy="6454800"/>
              <a:chOff x="12304800" y="403200"/>
              <a:chExt cx="1800000" cy="6454800"/>
            </a:xfrm>
          </p:grpSpPr>
          <p:sp>
            <p:nvSpPr>
              <p:cNvPr id="115" name="Headline"/>
              <p:cNvSpPr txBox="1"/>
              <p:nvPr userDrawn="1"/>
            </p:nvSpPr>
            <p:spPr>
              <a:xfrm rot="10800000" flipH="1" flipV="1">
                <a:off x="12304800" y="403200"/>
                <a:ext cx="1800000" cy="10728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none" lIns="0" tIns="0" rIns="0" bIns="36000" rtlCol="0" anchor="b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sz="1500" b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</a:t>
                </a:r>
                <a:r>
                  <a:rPr lang="de-DE" sz="1500" b="1" baseline="0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 </a:t>
                </a:r>
                <a:r>
                  <a:rPr lang="de-DE" sz="1000" b="1" dirty="0" smtClean="0">
                    <a:solidFill>
                      <a:schemeClr val="accent5"/>
                    </a:solidFill>
                    <a:latin typeface="+mn-lt"/>
                    <a:cs typeface="Arial" panose="020B0604020202020204" pitchFamily="34" charset="0"/>
                    <a:sym typeface="Webdings"/>
                  </a:rPr>
                  <a:t>Bilder Handling</a:t>
                </a:r>
                <a:endParaRPr lang="de-DE" sz="1500" b="1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Bildtools // Format"/>
              <p:cNvPicPr>
                <a:picLocks noChangeAspect="1" noChangeArrowheads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04800" y="2700000"/>
                <a:ext cx="670041" cy="43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Zuschneiden"/>
              <p:cNvPicPr>
                <a:picLocks noChangeAspect="1" noChangeArrowheads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68000" y="2592000"/>
                <a:ext cx="768914" cy="54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Beispielbild"/>
              <p:cNvPicPr>
                <a:picLocks noChangeAspect="1" noChangeArrowheads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3" b="26297"/>
              <a:stretch/>
            </p:blipFill>
            <p:spPr bwMode="auto">
              <a:xfrm>
                <a:off x="12304800" y="4248000"/>
                <a:ext cx="1800000" cy="9688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Einpassen"/>
              <p:cNvPicPr>
                <a:picLocks noChangeAspect="1" noChangeArrowheads="1"/>
              </p:cNvPicPr>
              <p:nvPr userDrawn="1"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96929" y="5886000"/>
                <a:ext cx="1107871" cy="97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ausschnitt veränder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kann innerhalb der schwarzen Begrenzungen bei gedrückter alt-Taste bewegt werden.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zuschneiden über Menü: Bildtools // Format // Größe // Zuschneid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 bei gedrückter Umschalt-Taste über die hellen Eckpunkte auf die passende Größe ziehen. 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de-DE" sz="1000" b="0" baseline="0" dirty="0" smtClean="0">
                  <a:solidFill>
                    <a:schemeClr val="accent5"/>
                  </a:solidFill>
                  <a:latin typeface="+mn-lt"/>
                </a:rPr>
                <a:t>Bildgröße einpassen über Menü: Bildtools // Format // Größe // Zuschneiden // Einpassen</a:t>
              </a:r>
            </a:p>
            <a:p>
              <a:pPr marL="71990" indent="-7199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de-DE" sz="1000" b="0" baseline="0" dirty="0" smtClean="0">
                <a:solidFill>
                  <a:schemeClr val="accent5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835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de-DE" dirty="0" smtClean="0"/>
              <a:t>Optionale Headline einzeilig in CorpoA (Überschriften) 30 pt. 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-2088000" y="-468001"/>
            <a:ext cx="14752800" cy="7794000"/>
            <a:chOff x="-2088000" y="-468001"/>
            <a:chExt cx="14752800" cy="7794000"/>
          </a:xfrm>
        </p:grpSpPr>
        <p:grpSp>
          <p:nvGrpSpPr>
            <p:cNvPr id="31" name="Regieanweisungen"/>
            <p:cNvGrpSpPr/>
            <p:nvPr userDrawn="1"/>
          </p:nvGrpSpPr>
          <p:grpSpPr>
            <a:xfrm>
              <a:off x="-2088000" y="-468001"/>
              <a:ext cx="14752800" cy="7794000"/>
              <a:chOff x="-2088000" y="-468000"/>
              <a:chExt cx="14752800" cy="7794000"/>
            </a:xfrm>
          </p:grpSpPr>
          <p:grpSp>
            <p:nvGrpSpPr>
              <p:cNvPr id="32" name="Hinweis oben"/>
              <p:cNvGrpSpPr/>
              <p:nvPr userDrawn="1"/>
            </p:nvGrpSpPr>
            <p:grpSpPr>
              <a:xfrm>
                <a:off x="395287" y="-468000"/>
                <a:ext cx="11406188" cy="360000"/>
                <a:chOff x="395287" y="-468000"/>
                <a:chExt cx="11406188" cy="360000"/>
              </a:xfrm>
            </p:grpSpPr>
            <p:cxnSp>
              <p:nvCxnSpPr>
                <p:cNvPr id="77" name="32,78 // 15,84"/>
                <p:cNvCxnSpPr/>
                <p:nvPr userDrawn="1"/>
              </p:nvCxnSpPr>
              <p:spPr>
                <a:xfrm>
                  <a:off x="11801475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1,1 // 15,84"/>
                <p:cNvCxnSpPr/>
                <p:nvPr userDrawn="1"/>
              </p:nvCxnSpPr>
              <p:spPr>
                <a:xfrm>
                  <a:off x="395287" y="-468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" name="Hinweis unten"/>
              <p:cNvGrpSpPr/>
              <p:nvPr userDrawn="1"/>
            </p:nvGrpSpPr>
            <p:grpSpPr>
              <a:xfrm>
                <a:off x="395288" y="6966000"/>
                <a:ext cx="11406187" cy="360000"/>
                <a:chOff x="395288" y="6966000"/>
                <a:chExt cx="11406187" cy="360000"/>
              </a:xfrm>
            </p:grpSpPr>
            <p:sp>
              <p:nvSpPr>
                <p:cNvPr id="73" name="Fußzeile"/>
                <p:cNvSpPr txBox="1"/>
                <p:nvPr userDrawn="1"/>
              </p:nvSpPr>
              <p:spPr>
                <a:xfrm rot="10800000" flipH="1" flipV="1">
                  <a:off x="432775" y="6966000"/>
                  <a:ext cx="10993626" cy="36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104290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ußzeile pro Folie oder für alle/mehrere anpassen über Menü: Einfügen // Text // Kopf- und Fußzeile</a:t>
                  </a:r>
                </a:p>
              </p:txBody>
            </p:sp>
            <p:cxnSp>
              <p:nvCxnSpPr>
                <p:cNvPr id="74" name="32,78 // 15,84"/>
                <p:cNvCxnSpPr/>
                <p:nvPr userDrawn="1"/>
              </p:nvCxnSpPr>
              <p:spPr>
                <a:xfrm>
                  <a:off x="11801475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1,1 // 15,84"/>
                <p:cNvCxnSpPr/>
                <p:nvPr userDrawn="1"/>
              </p:nvCxnSpPr>
              <p:spPr>
                <a:xfrm>
                  <a:off x="395288" y="6966000"/>
                  <a:ext cx="0" cy="36000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4" name="Hinweis rechts"/>
              <p:cNvGrpSpPr/>
              <p:nvPr userDrawn="1"/>
            </p:nvGrpSpPr>
            <p:grpSpPr>
              <a:xfrm>
                <a:off x="12304800" y="368300"/>
                <a:ext cx="360000" cy="6057900"/>
                <a:chOff x="12304800" y="368300"/>
                <a:chExt cx="360000" cy="6057900"/>
              </a:xfrm>
            </p:grpSpPr>
            <p:cxnSp>
              <p:nvCxnSpPr>
                <p:cNvPr id="70" name="17,85 // 8,32"/>
                <p:cNvCxnSpPr/>
                <p:nvPr userDrawn="1"/>
              </p:nvCxnSpPr>
              <p:spPr>
                <a:xfrm>
                  <a:off x="123048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4,2 // 5,33"/>
                <p:cNvCxnSpPr/>
                <p:nvPr userDrawn="1"/>
              </p:nvCxnSpPr>
              <p:spPr>
                <a:xfrm>
                  <a:off x="123048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1,02 // 8,5"/>
                <p:cNvCxnSpPr/>
                <p:nvPr userDrawn="1"/>
              </p:nvCxnSpPr>
              <p:spPr>
                <a:xfrm>
                  <a:off x="12304800" y="3683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Hinweis links"/>
              <p:cNvGrpSpPr/>
              <p:nvPr userDrawn="1"/>
            </p:nvGrpSpPr>
            <p:grpSpPr>
              <a:xfrm>
                <a:off x="-2088000" y="-432000"/>
                <a:ext cx="1980000" cy="6858200"/>
                <a:chOff x="-2088000" y="-432000"/>
                <a:chExt cx="1980000" cy="6858200"/>
              </a:xfrm>
            </p:grpSpPr>
            <p:sp>
              <p:nvSpPr>
                <p:cNvPr id="36" name="Folie Wechsel/Zurücksetzen/Textebenen"/>
                <p:cNvSpPr txBox="1"/>
                <p:nvPr userDrawn="1"/>
              </p:nvSpPr>
              <p:spPr>
                <a:xfrm rot="10800000" flipH="1" flipV="1">
                  <a:off x="-2088000" y="1548000"/>
                  <a:ext cx="1980000" cy="198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2152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4305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6458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86112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607640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129168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650696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172224" algn="l" defTabSz="1043056" rtl="0" eaLnBrk="1" latinLnBrk="0" hangingPunct="1">
                    <a:defRPr sz="2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Folie in Ursprungsform 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bringen über Menu: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Zurücksetzen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s Folienlayouts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Folien // Layout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lang="de-DE" sz="1000" b="0" baseline="0" dirty="0" smtClean="0">
                    <a:solidFill>
                      <a:schemeClr val="accent5"/>
                    </a:solidFill>
                    <a:latin typeface="+mn-lt"/>
                  </a:endParaRP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der Text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im Menü über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Start // Absatz // Listenebene erhöhen/verringern</a:t>
                  </a:r>
                </a:p>
              </p:txBody>
            </p:sp>
            <p:cxnSp>
              <p:nvCxnSpPr>
                <p:cNvPr id="37" name="17,85 // 8,32"/>
                <p:cNvCxnSpPr/>
                <p:nvPr userDrawn="1"/>
              </p:nvCxnSpPr>
              <p:spPr>
                <a:xfrm>
                  <a:off x="-468000" y="64262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4,2 // 5,33"/>
                <p:cNvCxnSpPr/>
                <p:nvPr userDrawn="1"/>
              </p:nvCxnSpPr>
              <p:spPr>
                <a:xfrm>
                  <a:off x="-468000" y="1512000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1,02 // 8,5"/>
                <p:cNvCxnSpPr/>
                <p:nvPr userDrawn="1"/>
              </p:nvCxnSpPr>
              <p:spPr>
                <a:xfrm>
                  <a:off x="-468000" y="367506"/>
                  <a:ext cx="360000" cy="0"/>
                </a:xfrm>
                <a:prstGeom prst="line">
                  <a:avLst/>
                </a:prstGeom>
                <a:ln w="0"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Design wechsel"/>
                <p:cNvSpPr txBox="1"/>
                <p:nvPr userDrawn="1"/>
              </p:nvSpPr>
              <p:spPr>
                <a:xfrm rot="10800000" flipH="1" flipV="1">
                  <a:off x="-2088000" y="403200"/>
                  <a:ext cx="1980000" cy="900000"/>
                </a:xfrm>
                <a:prstGeom prst="rect">
                  <a:avLst/>
                </a:prstGeom>
                <a:noFill/>
                <a:ln w="12700">
                  <a:noFill/>
                </a:ln>
              </p:spPr>
              <p:txBody>
                <a:bodyPr vert="horz" wrap="square" lIns="0" tIns="0" rIns="0" bIns="0" rtlCol="0" anchor="t" anchorCtr="0">
                  <a:no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Wechsel zwischen weißem und schwarzem Folienlayout über Menü: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ntwurf // Designs</a:t>
                  </a:r>
                </a:p>
                <a:p>
                  <a:pPr indent="0" algn="r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(Rechtsklick: </a:t>
                  </a: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ll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oder </a:t>
                  </a:r>
                  <a:b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</a:br>
                  <a:r>
                    <a:rPr lang="de-DE" sz="1000" b="0" i="1" baseline="0" dirty="0" smtClean="0">
                      <a:solidFill>
                        <a:schemeClr val="accent5"/>
                      </a:solidFill>
                      <a:latin typeface="+mn-lt"/>
                    </a:rPr>
                    <a:t>Für ausgewählte Folien </a:t>
                  </a: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übernehmen)</a:t>
                  </a:r>
                </a:p>
              </p:txBody>
            </p:sp>
            <p:pic>
              <p:nvPicPr>
                <p:cNvPr id="41" name="Listenebene erhöhen"/>
                <p:cNvPicPr>
                  <a:picLocks noChangeAspect="1" noChangeArrowheads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3564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66" name="Listenebene verringern"/>
                <p:cNvPicPr>
                  <a:picLocks noChangeAspect="1" noChangeArrowheads="1"/>
                </p:cNvPicPr>
                <p:nvPr userDrawn="1"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745200" y="4032000"/>
                  <a:ext cx="635538" cy="3240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7" name="Text // Listenebene erhöhen"/>
                <p:cNvSpPr txBox="1"/>
                <p:nvPr userDrawn="1"/>
              </p:nvSpPr>
              <p:spPr>
                <a:xfrm>
                  <a:off x="-1548000" y="3564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erhöhen</a:t>
                  </a:r>
                </a:p>
              </p:txBody>
            </p:sp>
            <p:sp>
              <p:nvSpPr>
                <p:cNvPr id="68" name="Text // Listenebene verringern"/>
                <p:cNvSpPr txBox="1"/>
                <p:nvPr userDrawn="1"/>
              </p:nvSpPr>
              <p:spPr>
                <a:xfrm>
                  <a:off x="-1548000" y="4032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Listenebene</a:t>
                  </a:r>
                </a:p>
                <a:p>
                  <a:pPr marL="0" marR="0" lvl="0" indent="0" algn="r" defTabSz="91427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de-DE" sz="1000" b="0" baseline="0" dirty="0" smtClean="0">
                      <a:solidFill>
                        <a:schemeClr val="accent5"/>
                      </a:solidFill>
                      <a:latin typeface="+mn-lt"/>
                    </a:rPr>
                    <a:t>verringern</a:t>
                  </a:r>
                </a:p>
              </p:txBody>
            </p:sp>
            <p:pic>
              <p:nvPicPr>
                <p:cNvPr id="69" name="Entwurfsvorlagen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332000" y="-432000"/>
                  <a:ext cx="1224000" cy="7461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4" name="Hilfslinien"/>
            <p:cNvSpPr txBox="1"/>
            <p:nvPr userDrawn="1"/>
          </p:nvSpPr>
          <p:spPr>
            <a:xfrm rot="10800000" flipH="1" flipV="1">
              <a:off x="432775" y="-468001"/>
              <a:ext cx="50903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Ansicht // Anzeigen // Haken bei Führungslinien setzen</a:t>
              </a:r>
            </a:p>
          </p:txBody>
        </p:sp>
        <p:sp>
          <p:nvSpPr>
            <p:cNvPr id="45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9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Reservierte Bereiche für Stempel oder Ic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0799" y="1512000"/>
            <a:ext cx="5580676" cy="4914201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1" y="15120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6" y="1511300"/>
            <a:ext cx="5579999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6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7" y="3502801"/>
            <a:ext cx="5579999" cy="2923400"/>
          </a:xfrm>
        </p:spPr>
        <p:txBody>
          <a:bodyPr/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ild //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11405475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0" y="6030980"/>
            <a:ext cx="11404799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de-DE" dirty="0" smtClean="0"/>
              <a:t>Bildunterschrift CorpoS 15 pt.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2730859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9" name="think-cell Folie" r:id="rId33" imgW="270" imgH="270" progId="TCLayout.ActiveDocument.1">
                  <p:embed/>
                </p:oleObj>
              </mc:Choice>
              <mc:Fallback>
                <p:oleObj name="think-cell Foli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3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01" y="6621563"/>
            <a:ext cx="1188000" cy="13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511300"/>
            <a:ext cx="11406188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6" name="Picture 2" descr="G:\Aufträge aktuell\1 Mes - MP-Master\MP Logo\Logo-MP-farbe-4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1407" y="133637"/>
            <a:ext cx="1346400" cy="16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 bwMode="gray"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smtClean="0">
                <a:solidFill>
                  <a:srgbClr val="000000"/>
                </a:solidFill>
                <a:latin typeface="CorpoS" pitchFamily="2" charset="0"/>
              </a:rPr>
              <a:t>Internal</a:t>
            </a:r>
            <a:endParaRPr lang="de-DE" sz="1000" dirty="0" err="1" smtClean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998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7" r:id="rId2"/>
    <p:sldLayoutId id="2147483718" r:id="rId3"/>
    <p:sldLayoutId id="2147483660" r:id="rId4"/>
    <p:sldLayoutId id="2147483721" r:id="rId5"/>
    <p:sldLayoutId id="2147483703" r:id="rId6"/>
    <p:sldLayoutId id="2147483704" r:id="rId7"/>
    <p:sldLayoutId id="2147483700" r:id="rId8"/>
    <p:sldLayoutId id="2147483679" r:id="rId9"/>
    <p:sldLayoutId id="2147483688" r:id="rId10"/>
    <p:sldLayoutId id="2147483689" r:id="rId11"/>
    <p:sldLayoutId id="2147483692" r:id="rId12"/>
    <p:sldLayoutId id="2147483696" r:id="rId13"/>
    <p:sldLayoutId id="2147483694" r:id="rId14"/>
    <p:sldLayoutId id="2147483680" r:id="rId15"/>
    <p:sldLayoutId id="2147483707" r:id="rId16"/>
    <p:sldLayoutId id="2147483683" r:id="rId17"/>
    <p:sldLayoutId id="2147483684" r:id="rId18"/>
    <p:sldLayoutId id="2147483709" r:id="rId19"/>
    <p:sldLayoutId id="2147483710" r:id="rId20"/>
    <p:sldLayoutId id="2147483711" r:id="rId21"/>
    <p:sldLayoutId id="2147483712" r:id="rId22"/>
    <p:sldLayoutId id="2147483698" r:id="rId23"/>
    <p:sldLayoutId id="2147483729" r:id="rId24"/>
    <p:sldLayoutId id="2147483725" r:id="rId25"/>
    <p:sldLayoutId id="2147483726" r:id="rId26"/>
    <p:sldLayoutId id="2147483727" r:id="rId27"/>
    <p:sldLayoutId id="2147483728" r:id="rId28"/>
    <p:sldLayoutId id="2147483682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289" y="368300"/>
            <a:ext cx="11406187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Headline zweizeilig in CorpoA (Überschriften) 30 pt. </a:t>
            </a:r>
            <a:br>
              <a:rPr lang="de-DE" dirty="0" smtClean="0"/>
            </a:br>
            <a:r>
              <a:rPr lang="de-DE" dirty="0" smtClean="0"/>
              <a:t>Lorem ipsum dolor sit amet.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288" y="1511300"/>
            <a:ext cx="11406188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 smtClean="0"/>
              <a:t>Text in </a:t>
            </a:r>
            <a:r>
              <a:rPr lang="de-DE" noProof="0" dirty="0" smtClean="0"/>
              <a:t>CorpoS</a:t>
            </a:r>
            <a:r>
              <a:rPr lang="en-US" dirty="0" smtClean="0"/>
              <a:t> (</a:t>
            </a:r>
            <a:r>
              <a:rPr lang="de-DE" noProof="0" dirty="0" smtClean="0"/>
              <a:t>Textkörper</a:t>
            </a:r>
            <a:r>
              <a:rPr lang="en-US" dirty="0" smtClean="0"/>
              <a:t>) in 20 pt. </a:t>
            </a:r>
            <a:r>
              <a:rPr lang="de-DE" dirty="0" smtClean="0"/>
              <a:t>einfügen // für Aufzählungen: Start // Absatz // Listenebene erhöh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</a:p>
        </p:txBody>
      </p:sp>
      <p:pic>
        <p:nvPicPr>
          <p:cNvPr id="66" name="Wortmarke Mercedes-Benz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1" y="6620400"/>
            <a:ext cx="1188000" cy="136800"/>
          </a:xfrm>
          <a:prstGeom prst="rect">
            <a:avLst/>
          </a:prstGeom>
        </p:spPr>
      </p:pic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white">
          <a:xfrm>
            <a:off x="3578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de-DE" smtClean="0"/>
              <a:t>Mercedes-Benz Cars. Einkauf und Lieferantenqualität - MP Standardfoliensatz | MP | Januar 2016</a:t>
            </a:r>
            <a:endParaRPr lang="de-DE" dirty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white">
          <a:xfrm>
            <a:off x="11800801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MSIPCMContentMarking" descr="{&quot;HashCode&quot;:758215280,&quot;Placement&quot;:&quot;Header&quot;,&quot;Top&quot;:0.0,&quot;Left&quot;:0.0,&quot;SlideWidth&quot;:960,&quot;SlideHeight&quot;:540}"/>
          <p:cNvSpPr txBox="1"/>
          <p:nvPr userDrawn="1"/>
        </p:nvSpPr>
        <p:spPr bwMode="gray">
          <a:xfrm>
            <a:off x="0" y="0"/>
            <a:ext cx="663105" cy="2523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 smtClean="0">
                <a:solidFill>
                  <a:srgbClr val="000000"/>
                </a:solidFill>
                <a:latin typeface="CorpoS" pitchFamily="2" charset="0"/>
              </a:rPr>
              <a:t>Internal</a:t>
            </a:r>
            <a:endParaRPr lang="de-DE" sz="1000" dirty="0" err="1" smtClean="0">
              <a:solidFill>
                <a:srgbClr val="000000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19" r:id="rId2"/>
    <p:sldLayoutId id="2147483720" r:id="rId3"/>
    <p:sldLayoutId id="2147483664" r:id="rId4"/>
    <p:sldLayoutId id="2147483722" r:id="rId5"/>
    <p:sldLayoutId id="2147483705" r:id="rId6"/>
    <p:sldLayoutId id="2147483706" r:id="rId7"/>
    <p:sldLayoutId id="2147483701" r:id="rId8"/>
    <p:sldLayoutId id="2147483702" r:id="rId9"/>
    <p:sldLayoutId id="2147483690" r:id="rId10"/>
    <p:sldLayoutId id="2147483691" r:id="rId11"/>
    <p:sldLayoutId id="2147483693" r:id="rId12"/>
    <p:sldLayoutId id="2147483697" r:id="rId13"/>
    <p:sldLayoutId id="2147483695" r:id="rId14"/>
    <p:sldLayoutId id="2147483685" r:id="rId15"/>
    <p:sldLayoutId id="2147483708" r:id="rId16"/>
    <p:sldLayoutId id="2147483686" r:id="rId17"/>
    <p:sldLayoutId id="2147483687" r:id="rId18"/>
    <p:sldLayoutId id="2147483713" r:id="rId19"/>
    <p:sldLayoutId id="2147483714" r:id="rId20"/>
    <p:sldLayoutId id="2147483715" r:id="rId21"/>
    <p:sldLayoutId id="2147483716" r:id="rId22"/>
    <p:sldLayoutId id="2147483730" r:id="rId23"/>
    <p:sldLayoutId id="2147483723" r:id="rId24"/>
    <p:sldLayoutId id="2147483674" r:id="rId25"/>
    <p:sldLayoutId id="2147483675" r:id="rId26"/>
    <p:sldLayoutId id="2147483676" r:id="rId27"/>
    <p:sldLayoutId id="2147483677" r:id="rId28"/>
    <p:sldLayoutId id="2147483724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271" rtl="0" eaLnBrk="1" latinLnBrk="0" hangingPunct="1">
        <a:spcBef>
          <a:spcPts val="0"/>
        </a:spcBef>
        <a:buFont typeface="+mj-lt"/>
        <a:buNone/>
        <a:defRPr sz="30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952" indent="-34195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924" indent="-197972" algn="l" defTabSz="914271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500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1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6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42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8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14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9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85" algn="l" defTabSz="9142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41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4" name="Picture 2" descr="C:\Users\mrodriq\Desktop\15C157_01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1" t="22419" b="42762"/>
          <a:stretch/>
        </p:blipFill>
        <p:spPr bwMode="auto">
          <a:xfrm>
            <a:off x="0" y="333375"/>
            <a:ext cx="12198352" cy="338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Bestätigung Q-Anforderungen</a:t>
            </a:r>
            <a:br>
              <a:rPr lang="de-DE" dirty="0" smtClean="0"/>
            </a:br>
            <a:r>
              <a:rPr lang="de-DE" dirty="0" smtClean="0"/>
              <a:t>Heckleuchte / Leuchteinheit</a:t>
            </a:r>
            <a:endParaRPr lang="de-DE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Name, Vorname, </a:t>
            </a:r>
            <a:r>
              <a:rPr lang="de-DE" dirty="0"/>
              <a:t>MP/XR4</a:t>
            </a:r>
          </a:p>
          <a:p>
            <a:r>
              <a:rPr lang="de-DE" dirty="0"/>
              <a:t>Böblingen, </a:t>
            </a:r>
            <a:r>
              <a:rPr lang="de-DE" dirty="0" smtClean="0"/>
              <a:t>Datum</a:t>
            </a:r>
            <a:endParaRPr lang="de-DE" dirty="0"/>
          </a:p>
        </p:txBody>
      </p:sp>
      <p:pic>
        <p:nvPicPr>
          <p:cNvPr id="11" name="Bildplatzhalter 1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808" b="7600"/>
          <a:stretch/>
        </p:blipFill>
        <p:spPr>
          <a:xfrm>
            <a:off x="0" y="311762"/>
            <a:ext cx="12198350" cy="3407039"/>
          </a:xfrm>
          <a:scene3d>
            <a:camera prst="orthographicFront"/>
            <a:lightRig rig="threePt" dir="t"/>
          </a:scene3d>
          <a:sp3d prstMaterial="flat"/>
        </p:spPr>
      </p:pic>
    </p:spTree>
    <p:extLst>
      <p:ext uri="{BB962C8B-B14F-4D97-AF65-F5344CB8AC3E}">
        <p14:creationId xmlns:p14="http://schemas.microsoft.com/office/powerpoint/2010/main" val="228541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774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560875"/>
              </p:ext>
            </p:extLst>
          </p:nvPr>
        </p:nvGraphicFramePr>
        <p:xfrm>
          <a:off x="415446" y="875629"/>
          <a:ext cx="11341124" cy="49395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2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7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343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1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Zusammenfassung der wichtigsten Q-Anforderungen</a:t>
                      </a:r>
                      <a:endParaRPr lang="de-DE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7687"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Prozesslastenheft (</a:t>
                      </a:r>
                      <a:r>
                        <a:rPr lang="de-DE" sz="1300" b="1" kern="0" dirty="0" smtClean="0">
                          <a:cs typeface="Arial" charset="0"/>
                          <a:sym typeface="Wingdings" panose="05000000000000000000" pitchFamily="2" charset="2"/>
                        </a:rPr>
                        <a:t>Version </a:t>
                      </a:r>
                      <a:r>
                        <a:rPr lang="de-DE" sz="1300" b="1" kern="0" dirty="0" smtClean="0">
                          <a:cs typeface="Arial" charset="0"/>
                          <a:sym typeface="Wingdings" panose="05000000000000000000" pitchFamily="2" charset="2"/>
                        </a:rPr>
                        <a:t>1.7, </a:t>
                      </a:r>
                      <a:r>
                        <a:rPr lang="de-DE" sz="1300" b="1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Stand vom </a:t>
                      </a:r>
                      <a:r>
                        <a:rPr lang="de-DE" sz="1300" b="1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01.03.2022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)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 vollumfänglich 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akzeptiert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(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Inklusive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 Photometrischer Überwachung)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? 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/>
                      </a:r>
                      <a:b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falls nein: Einsprüche abgestimmt u. freigegeben durch Qualität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MP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r>
                        <a:rPr lang="de-DE" sz="1300" dirty="0" smtClean="0"/>
                        <a:t>Ja / Nei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Wird den Toleranzanforderungen ganzheitlich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 zugestimmt?</a:t>
                      </a:r>
                      <a:endParaRPr lang="de-DE" sz="1300" kern="0" dirty="0" smtClean="0">
                        <a:cs typeface="Arial" charset="0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7687"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Hinweis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 bzgl. Hauptänderungen im PLH:</a:t>
                      </a:r>
                      <a:b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- Lichttechnische Vermessung und Dokumentation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- </a:t>
                      </a:r>
                      <a:r>
                        <a:rPr lang="de-DE" sz="1300" kern="0" baseline="0" dirty="0" err="1" smtClean="0">
                          <a:cs typeface="Arial" charset="0"/>
                          <a:sym typeface="Wingdings" panose="05000000000000000000" pitchFamily="2" charset="2"/>
                        </a:rPr>
                        <a:t>Steckerauslegung</a:t>
                      </a: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 / -prüfung (Leuchteinheit vorne)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de-DE" sz="1300" kern="0" baseline="0" dirty="0" smtClean="0">
                          <a:cs typeface="Arial" charset="0"/>
                          <a:sym typeface="Wingdings" panose="05000000000000000000" pitchFamily="2" charset="2"/>
                        </a:rPr>
                        <a:t>- Anpassung Anforderungen an Geometr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sz="1300" dirty="0" smtClean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300" kern="0" dirty="0" smtClean="0">
                          <a:cs typeface="Arial" charset="0"/>
                        </a:rPr>
                        <a:t>Sind zur Zielerreichung</a:t>
                      </a:r>
                      <a:r>
                        <a:rPr lang="de-DE" sz="1300" kern="0" baseline="0" dirty="0" smtClean="0">
                          <a:cs typeface="Arial" charset="0"/>
                        </a:rPr>
                        <a:t> der Toleranzen </a:t>
                      </a:r>
                      <a:r>
                        <a:rPr lang="de-DE" sz="1300" kern="0" dirty="0" smtClean="0">
                          <a:cs typeface="Arial" charset="0"/>
                        </a:rPr>
                        <a:t>Sonderprozesse vorgesehen? Welche?</a:t>
                      </a:r>
                      <a:r>
                        <a:rPr lang="de-DE" sz="1300" kern="0" baseline="0" dirty="0" smtClean="0">
                          <a:cs typeface="Arial" charset="0"/>
                        </a:rPr>
                        <a:t> </a:t>
                      </a:r>
                      <a:r>
                        <a:rPr lang="de-DE" sz="1300" kern="0" dirty="0" smtClean="0">
                          <a:cs typeface="Arial" charset="0"/>
                        </a:rPr>
                        <a:t>(Bohren, Fräsen, </a:t>
                      </a:r>
                      <a:r>
                        <a:rPr lang="de-DE" sz="1300" kern="0" dirty="0" err="1" smtClean="0">
                          <a:cs typeface="Arial" charset="0"/>
                        </a:rPr>
                        <a:t>Laserschweissen</a:t>
                      </a:r>
                      <a:r>
                        <a:rPr lang="de-DE" sz="1300" kern="0" dirty="0" smtClean="0">
                          <a:cs typeface="Arial" charset="0"/>
                        </a:rPr>
                        <a:t>, Lasercutten, Inline Lichtscheibe, …)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 / 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7687"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Terminplan kommuniziert?</a:t>
                      </a:r>
                    </a:p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PPFB Termin und ESWFT Termin bestätigt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r>
                        <a:rPr lang="de-DE" sz="1300" dirty="0" smtClean="0"/>
                        <a:t>Ja / Nei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Messaufnahme (3D) vorgesehen?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25529"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Welcher</a:t>
                      </a:r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Fertigungsstandort ist geplant? ________________</a:t>
                      </a:r>
                      <a:endParaRPr lang="de-DE" sz="1300" kern="0" dirty="0" smtClean="0">
                        <a:solidFill>
                          <a:schemeClr val="tx1"/>
                        </a:solidFill>
                        <a:cs typeface="Arial" charset="0"/>
                        <a:sym typeface="Wingdings" panose="05000000000000000000" pitchFamily="2" charset="2"/>
                      </a:endParaRPr>
                    </a:p>
                    <a:p>
                      <a:r>
                        <a:rPr lang="de-DE" sz="1300" kern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Ist der Fertigungsstandort freigegeben und CCC-zertifiziert? </a:t>
                      </a:r>
                      <a:br>
                        <a:rPr lang="de-DE" sz="1300" kern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</a:br>
                      <a:r>
                        <a:rPr lang="de-DE" sz="1300" kern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Liegt</a:t>
                      </a:r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für den Standort ein bestandenes CSR-Audit (Corporate </a:t>
                      </a:r>
                      <a:r>
                        <a:rPr lang="de-DE" sz="1300" kern="0" baseline="0" dirty="0" err="1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Social</a:t>
                      </a:r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300" kern="0" baseline="0" dirty="0" err="1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Responsibility</a:t>
                      </a:r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) vor?</a:t>
                      </a:r>
                    </a:p>
                    <a:p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Anzahl Anläufe im geplanten Fertigungswerk im Anlaufjahr?</a:t>
                      </a:r>
                    </a:p>
                    <a:p>
                      <a:r>
                        <a:rPr lang="de-DE" sz="1300" kern="0" baseline="0" dirty="0" smtClean="0">
                          <a:solidFill>
                            <a:schemeClr val="tx1"/>
                          </a:solidFill>
                          <a:cs typeface="Arial" charset="0"/>
                          <a:sym typeface="Wingdings" panose="05000000000000000000" pitchFamily="2" charset="2"/>
                        </a:rPr>
                        <a:t>- Mehrfachbelegung der Montagelinie (andere OEMs, DAI-Projekt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>Ja / Nein</a:t>
                      </a:r>
                    </a:p>
                    <a:p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>Ja / Nein</a:t>
                      </a:r>
                    </a:p>
                    <a:p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de-DE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de-DE" sz="13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>Anzahl:</a:t>
                      </a:r>
                    </a:p>
                    <a:p>
                      <a:pPr marL="0" marR="0" lvl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300" dirty="0" smtClean="0">
                          <a:solidFill>
                            <a:schemeClr val="tx1"/>
                          </a:solidFill>
                        </a:rPr>
                        <a:t>Ja / Nei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</a:rPr>
                        <a:t>Ist eine Inline-Messanlage vorgesehen?</a:t>
                      </a:r>
                    </a:p>
                    <a:p>
                      <a:r>
                        <a:rPr lang="de-DE" sz="1300" kern="0" dirty="0" smtClean="0">
                          <a:cs typeface="Arial" charset="0"/>
                        </a:rPr>
                        <a:t>Anzahl Messpunkte Inline bestätigt?</a:t>
                      </a:r>
                    </a:p>
                    <a:p>
                      <a:r>
                        <a:rPr lang="de-DE" sz="1300" kern="0" dirty="0" smtClean="0">
                          <a:cs typeface="Arial" charset="0"/>
                        </a:rPr>
                        <a:t>Leuchte: Oberfläche/Umriss 8/8 </a:t>
                      </a:r>
                    </a:p>
                    <a:p>
                      <a:r>
                        <a:rPr lang="de-DE" sz="1300" kern="0" dirty="0" err="1" smtClean="0">
                          <a:cs typeface="Arial" charset="0"/>
                        </a:rPr>
                        <a:t>Leuchtenband</a:t>
                      </a:r>
                      <a:r>
                        <a:rPr lang="de-DE" sz="1300" kern="0" dirty="0" smtClean="0">
                          <a:cs typeface="Arial" charset="0"/>
                        </a:rPr>
                        <a:t>: Oberfläche/Umriss 12/12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endParaRPr lang="de-DE" sz="1300" dirty="0" smtClean="0"/>
                    </a:p>
                    <a:p>
                      <a:endParaRPr lang="de-DE" sz="13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3014">
                <a:tc>
                  <a:txBody>
                    <a:bodyPr/>
                    <a:lstStyle/>
                    <a:p>
                      <a:r>
                        <a:rPr lang="de-DE" sz="1300" kern="0" dirty="0" smtClean="0">
                          <a:cs typeface="Arial" charset="0"/>
                        </a:rPr>
                        <a:t>Montagelayout vorgestellt?</a:t>
                      </a:r>
                    </a:p>
                    <a:p>
                      <a:r>
                        <a:rPr lang="de-DE" sz="1300" kern="0" dirty="0" smtClean="0">
                          <a:cs typeface="Arial" charset="0"/>
                        </a:rPr>
                        <a:t>Heckleuchte: Tempern vor Inline?</a:t>
                      </a:r>
                    </a:p>
                    <a:p>
                      <a:r>
                        <a:rPr lang="de-DE" sz="1300" dirty="0" smtClean="0"/>
                        <a:t>Scheinwerfer: Lichteinstellung nach Hohlschrauben-</a:t>
                      </a:r>
                      <a:r>
                        <a:rPr lang="de-DE" sz="1300" dirty="0" err="1" smtClean="0"/>
                        <a:t>Justage</a:t>
                      </a:r>
                      <a:r>
                        <a:rPr lang="de-DE" sz="1300" dirty="0" smtClean="0"/>
                        <a:t>?</a:t>
                      </a:r>
                      <a:endParaRPr lang="de-DE" sz="13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r>
                        <a:rPr lang="de-DE" sz="1300" dirty="0" smtClean="0"/>
                        <a:t>Ja / Nein</a:t>
                      </a:r>
                    </a:p>
                    <a:p>
                      <a:r>
                        <a:rPr lang="de-DE" sz="1300" dirty="0" smtClean="0"/>
                        <a:t>Ja / Nei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300" kern="0" dirty="0" smtClean="0">
                          <a:cs typeface="Arial" charset="0"/>
                          <a:sym typeface="Wingdings" panose="05000000000000000000" pitchFamily="2" charset="2"/>
                        </a:rPr>
                        <a:t>Wird die Oberflächennorm MBN 10503 akzeptiert?</a:t>
                      </a:r>
                    </a:p>
                    <a:p>
                      <a:endParaRPr lang="de-DE" sz="1300" kern="0" dirty="0" smtClean="0">
                        <a:solidFill>
                          <a:schemeClr val="tx1"/>
                        </a:solidFill>
                        <a:cs typeface="Arial" charset="0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300" dirty="0" smtClean="0"/>
                        <a:t>Ja / Nein</a:t>
                      </a:r>
                    </a:p>
                    <a:p>
                      <a:endParaRPr lang="de-DE" sz="13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95999" y="204901"/>
            <a:ext cx="8795625" cy="479534"/>
          </a:xfrm>
        </p:spPr>
        <p:txBody>
          <a:bodyPr/>
          <a:lstStyle/>
          <a:p>
            <a:r>
              <a:rPr lang="de-DE" dirty="0" smtClean="0">
                <a:sym typeface="Wingdings" panose="05000000000000000000" pitchFamily="2" charset="2"/>
              </a:rPr>
              <a:t>Heckleuchte/Leuchteinheit BR 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smtClean="0">
                <a:sym typeface="Wingdings" panose="05000000000000000000" pitchFamily="2" charset="2"/>
              </a:rPr>
              <a:t>      , </a:t>
            </a:r>
            <a:r>
              <a:rPr lang="de-DE" dirty="0" smtClean="0"/>
              <a:t>Lieferant</a:t>
            </a:r>
            <a:endParaRPr lang="de-DE" altLang="de-DE" dirty="0" smtClean="0"/>
          </a:p>
        </p:txBody>
      </p:sp>
      <p:cxnSp>
        <p:nvCxnSpPr>
          <p:cNvPr id="7" name="Gerade Verbindung 6"/>
          <p:cNvCxnSpPr/>
          <p:nvPr/>
        </p:nvCxnSpPr>
        <p:spPr bwMode="gray">
          <a:xfrm>
            <a:off x="3333750" y="6296025"/>
            <a:ext cx="103822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3162300" y="6315075"/>
            <a:ext cx="790575" cy="238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1400" dirty="0" smtClean="0">
                <a:solidFill>
                  <a:schemeClr val="tx1"/>
                </a:solidFill>
              </a:rPr>
              <a:t>Datum</a:t>
            </a:r>
          </a:p>
        </p:txBody>
      </p:sp>
      <p:cxnSp>
        <p:nvCxnSpPr>
          <p:cNvPr id="10" name="Gerade Verbindung 9"/>
          <p:cNvCxnSpPr/>
          <p:nvPr/>
        </p:nvCxnSpPr>
        <p:spPr bwMode="gray">
          <a:xfrm>
            <a:off x="4876800" y="6296025"/>
            <a:ext cx="3771900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gray">
          <a:xfrm>
            <a:off x="4781550" y="6310312"/>
            <a:ext cx="3905250" cy="238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1400" dirty="0" smtClean="0"/>
              <a:t>Unterschrift Lieferant (Produktionsverantwortlicher)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gray">
          <a:xfrm>
            <a:off x="7591425" y="619125"/>
            <a:ext cx="231457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 bwMode="gray">
          <a:xfrm>
            <a:off x="5276850" y="619125"/>
            <a:ext cx="581025" cy="0"/>
          </a:xfrm>
          <a:prstGeom prst="line">
            <a:avLst/>
          </a:prstGeom>
          <a:ln w="635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 bwMode="gray">
          <a:xfrm>
            <a:off x="10780776" y="6537960"/>
            <a:ext cx="975794" cy="2377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900" dirty="0" smtClean="0">
                <a:solidFill>
                  <a:schemeClr val="tx1"/>
                </a:solidFill>
              </a:rPr>
              <a:t>Stand: </a:t>
            </a:r>
            <a:r>
              <a:rPr lang="de-DE" sz="900" dirty="0" smtClean="0">
                <a:solidFill>
                  <a:schemeClr val="tx1"/>
                </a:solidFill>
              </a:rPr>
              <a:t>01.</a:t>
            </a:r>
            <a:r>
              <a:rPr lang="de-DE" sz="900" dirty="0" smtClean="0"/>
              <a:t>03.2022</a:t>
            </a:r>
            <a:endParaRPr lang="de-DE" sz="900" dirty="0"/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9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48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_MB_PC_presentation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PPT Master // Mercedes-Benz // 16x9 // schwarz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IReviewStatus xmlns="f55eec03-8512-4d00-a8c9-cd21e46419f5">Draft</DAIReviewStatus>
    <DAIOrigin xmlns="f55eec03-8512-4d00-a8c9-cd21e46419f5">Daimler</DAIOrigin>
    <Category xmlns="f55eec03-8512-4d00-a8c9-cd21e46419f5">Category 1</Category>
    <Language xmlns="f55eec03-8512-4d00-a8c9-cd21e46419f5">Deutsch</Languag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tandard Document" ma:contentTypeID="0x0101003D18CFE4CE879945945E15174BB87C55010030243FED91583A4FA753B6499430CBBF" ma:contentTypeVersion="15" ma:contentTypeDescription="Create a new document." ma:contentTypeScope="" ma:versionID="51e4fd09d597972d783bc9aa0cc6c071">
  <xsd:schema xmlns:xsd="http://www.w3.org/2001/XMLSchema" xmlns:xs="http://www.w3.org/2001/XMLSchema" xmlns:p="http://schemas.microsoft.com/office/2006/metadata/properties" xmlns:ns2="f55eec03-8512-4d00-a8c9-cd21e46419f5" targetNamespace="http://schemas.microsoft.com/office/2006/metadata/properties" ma:root="true" ma:fieldsID="edb24a76a94920299811a9edce0bc2cf" ns2:_="">
    <xsd:import namespace="f55eec03-8512-4d00-a8c9-cd21e46419f5"/>
    <xsd:element name="properties">
      <xsd:complexType>
        <xsd:sequence>
          <xsd:element name="documentManagement">
            <xsd:complexType>
              <xsd:all>
                <xsd:element ref="ns2:DAIReviewStatus" minOccurs="0"/>
                <xsd:element ref="ns2:DAIOrigin" minOccurs="0"/>
                <xsd:element ref="ns2:Category" minOccurs="0"/>
                <xsd:element ref="ns2:Languag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5eec03-8512-4d00-a8c9-cd21e46419f5" elementFormDefault="qualified">
    <xsd:import namespace="http://schemas.microsoft.com/office/2006/documentManagement/types"/>
    <xsd:import namespace="http://schemas.microsoft.com/office/infopath/2007/PartnerControls"/>
    <xsd:element name="DAIReviewStatus" ma:index="8" nillable="true" ma:displayName="Review Status" ma:default="Draft" ma:internalName="DAIReviewStatus">
      <xsd:simpleType>
        <xsd:restriction base="dms:Choice">
          <xsd:enumeration value="Draft"/>
          <xsd:enumeration value="Reviewed"/>
          <xsd:enumeration value="Final"/>
          <xsd:enumeration value="Expired"/>
        </xsd:restriction>
      </xsd:simpleType>
    </xsd:element>
    <xsd:element name="DAIOrigin" ma:index="10" nillable="true" ma:displayName="Origin" ma:default="Daimler" ma:internalName="DAIOrigin">
      <xsd:simpleType>
        <xsd:restriction base="dms:Choice">
          <xsd:enumeration value="Daimler"/>
          <xsd:enumeration value="External"/>
        </xsd:restriction>
      </xsd:simpleType>
    </xsd:element>
    <xsd:element name="Category" ma:index="11" nillable="true" ma:displayName="Category" ma:default="Category 1" ma:internalName="Category">
      <xsd:simpleType>
        <xsd:restriction base="dms:Choice">
          <xsd:enumeration value="Category 1"/>
          <xsd:enumeration value="Category 2"/>
          <xsd:enumeration value="Category 3"/>
        </xsd:restriction>
      </xsd:simpleType>
    </xsd:element>
    <xsd:element name="Language" ma:index="12" nillable="true" ma:displayName="Language" ma:default="Deutsch" ma:format="Dropdown" ma:internalName="Language">
      <xsd:simpleType>
        <xsd:restriction base="dms:Choice">
          <xsd:enumeration value="Deutsch"/>
          <xsd:enumeration value="Englisch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9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0EAF99D-9FB0-4C07-9D52-4ADD9F035A48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f55eec03-8512-4d00-a8c9-cd21e46419f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8D86363-F18D-4704-9519-006A9BA56C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139C350-2CF9-4F2D-BD5B-FC432DF8DB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5eec03-8512-4d00-a8c9-cd21e46419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5_MB_PC_presentation_DE_16_9</Template>
  <TotalTime>0</TotalTime>
  <Words>272</Words>
  <Application>Microsoft Office PowerPoint</Application>
  <PresentationFormat>Benutzerdefiniert</PresentationFormat>
  <Paragraphs>46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CorpoA</vt:lpstr>
      <vt:lpstr>CorpoS</vt:lpstr>
      <vt:lpstr>Symbol</vt:lpstr>
      <vt:lpstr>Webdings</vt:lpstr>
      <vt:lpstr>Wingdings</vt:lpstr>
      <vt:lpstr>2015_MB_PC_presentation_DE_16_9</vt:lpstr>
      <vt:lpstr>PPT Master // Mercedes-Benz // 16x9 // schwarz</vt:lpstr>
      <vt:lpstr>think-cell Folie</vt:lpstr>
      <vt:lpstr>Bestätigung Q-Anforderungen Heckleuchte / Leuchteinheit</vt:lpstr>
      <vt:lpstr>Heckleuchte/Leuchteinheit BR        , Lieferant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30 pt über eine Zeile.</dc:title>
  <dc:creator>Rodriguez Romero, Martina (050-Extern)</dc:creator>
  <cp:lastModifiedBy>Habermaier, Matthias (050)</cp:lastModifiedBy>
  <cp:revision>190</cp:revision>
  <cp:lastPrinted>2021-02-25T08:49:38Z</cp:lastPrinted>
  <dcterms:created xsi:type="dcterms:W3CDTF">2015-12-07T14:59:03Z</dcterms:created>
  <dcterms:modified xsi:type="dcterms:W3CDTF">2022-09-12T11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18CFE4CE879945945E15174BB87C55010030243FED91583A4FA753B6499430CBBF</vt:lpwstr>
  </property>
  <property fmtid="{D5CDD505-2E9C-101B-9397-08002B2CF9AE}" pid="3" name="MSIP_Label_924dbb1d-991d-4bbd-aad5-33bac1d8ffaf_Enabled">
    <vt:lpwstr>true</vt:lpwstr>
  </property>
  <property fmtid="{D5CDD505-2E9C-101B-9397-08002B2CF9AE}" pid="4" name="MSIP_Label_924dbb1d-991d-4bbd-aad5-33bac1d8ffaf_SetDate">
    <vt:lpwstr>2022-09-12T11:19:47Z</vt:lpwstr>
  </property>
  <property fmtid="{D5CDD505-2E9C-101B-9397-08002B2CF9AE}" pid="5" name="MSIP_Label_924dbb1d-991d-4bbd-aad5-33bac1d8ffaf_Method">
    <vt:lpwstr>Standard</vt:lpwstr>
  </property>
  <property fmtid="{D5CDD505-2E9C-101B-9397-08002B2CF9AE}" pid="6" name="MSIP_Label_924dbb1d-991d-4bbd-aad5-33bac1d8ffaf_Name">
    <vt:lpwstr>924dbb1d-991d-4bbd-aad5-33bac1d8ffaf</vt:lpwstr>
  </property>
  <property fmtid="{D5CDD505-2E9C-101B-9397-08002B2CF9AE}" pid="7" name="MSIP_Label_924dbb1d-991d-4bbd-aad5-33bac1d8ffaf_SiteId">
    <vt:lpwstr>9652d7c2-1ccf-4940-8151-4a92bd474ed0</vt:lpwstr>
  </property>
  <property fmtid="{D5CDD505-2E9C-101B-9397-08002B2CF9AE}" pid="8" name="MSIP_Label_924dbb1d-991d-4bbd-aad5-33bac1d8ffaf_ActionId">
    <vt:lpwstr>a01ccc40-1d80-4f05-b75e-04e2903c6b6a</vt:lpwstr>
  </property>
  <property fmtid="{D5CDD505-2E9C-101B-9397-08002B2CF9AE}" pid="9" name="MSIP_Label_924dbb1d-991d-4bbd-aad5-33bac1d8ffaf_ContentBits">
    <vt:lpwstr>1</vt:lpwstr>
  </property>
</Properties>
</file>